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30" d="100"/>
          <a:sy n="130" d="100"/>
        </p:scale>
        <p:origin x="-5460" y="-624"/>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351D85A6-B4DB-42D8-8AF1-BD776DF14B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0174E1FD-FDF3-4167-BDBD-4583253912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BB7C4D0C-EA6A-4D92-9D52-657B7C4E01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32</c:v>
                </c:pt>
                <c:pt idx="1">
                  <c:v>0.38</c:v>
                </c:pt>
                <c:pt idx="2">
                  <c:v>0.24</c:v>
                </c:pt>
                <c:pt idx="3">
                  <c:v>0.0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32%</c:v>
                  </c:pt>
                  <c:pt idx="1">
                    <c:v>38%</c:v>
                  </c:pt>
                  <c:pt idx="2">
                    <c:v>24%</c:v>
                  </c:pt>
                  <c:pt idx="3">
                    <c:v>6%</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6AB90817-0B0A-403C-9F52-782394AEFD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5C157812-9B85-4F6C-86F8-EC6A3DABCB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614337F1-F726-4E99-8115-9BCEBCFD8A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2</c:v>
                </c:pt>
                <c:pt idx="1">
                  <c:v>0.2</c:v>
                </c:pt>
                <c:pt idx="2">
                  <c:v>0.49</c:v>
                </c:pt>
                <c:pt idx="3">
                  <c:v>0.27</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2%</c:v>
                  </c:pt>
                  <c:pt idx="1">
                    <c:v>20%</c:v>
                  </c:pt>
                  <c:pt idx="2">
                    <c:v>49%</c:v>
                  </c:pt>
                  <c:pt idx="3">
                    <c:v>2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5</c:v>
                </c:pt>
                <c:pt idx="1">
                  <c:v>0.85</c:v>
                </c:pt>
                <c:pt idx="2">
                  <c:v>0.87</c:v>
                </c:pt>
                <c:pt idx="3">
                  <c:v>0.9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2521D004-6F68-4DA6-B3F1-4E3830F9C6B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C3993441-1B31-458C-A941-293544C24E0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0DB970C0-8B1B-40B6-A1F4-087BFF5C018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5</c:v>
                </c:pt>
                <c:pt idx="1">
                  <c:v>0.15</c:v>
                </c:pt>
                <c:pt idx="2">
                  <c:v>0.13</c:v>
                </c:pt>
                <c:pt idx="3">
                  <c:v>7.0000000000000007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75%</c:v>
                  </c:pt>
                  <c:pt idx="1">
                    <c:v>85%</c:v>
                  </c:pt>
                  <c:pt idx="2">
                    <c:v>87%</c:v>
                  </c:pt>
                  <c:pt idx="3">
                    <c:v>93%</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1</c:v>
                </c:pt>
                <c:pt idx="1">
                  <c:v>0</c:v>
                </c:pt>
                <c:pt idx="2">
                  <c:v>0.92</c:v>
                </c:pt>
                <c:pt idx="3">
                  <c:v>0.93</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EB5FAF6B-068A-427E-B233-4356A9A67CD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40886437-CB92-43D5-9AAA-19021C1E075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4AFAE000-FD48-4495-A401-48925A595C6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0805F848-49D7-4944-82E9-DCFCF755E5F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9</c:v>
                </c:pt>
                <c:pt idx="1">
                  <c:v>0</c:v>
                </c:pt>
                <c:pt idx="2">
                  <c:v>0.08</c:v>
                </c:pt>
                <c:pt idx="3">
                  <c:v>7.0000000000000007E-2</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1%</c:v>
                  </c:pt>
                  <c:pt idx="1">
                    <c:v>-</c:v>
                  </c:pt>
                  <c:pt idx="2">
                    <c:v>92%</c:v>
                  </c:pt>
                  <c:pt idx="3">
                    <c:v>93%</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9</c:v>
                </c:pt>
                <c:pt idx="1">
                  <c:v>0.8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ED03AA9F-735B-4468-B1C1-BAC35188DFA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6CD592DC-79FC-4BF8-BE84-4A5FF0323E8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F10DCB0D-3A3D-48A1-B207-CDA6FDDDF1A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95D56301-992F-4F36-8FED-44E28749428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1</c:v>
                </c:pt>
                <c:pt idx="1">
                  <c:v>0.1400000000000000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9%</c:v>
                  </c:pt>
                  <c:pt idx="1">
                    <c:v>86%</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9199E812-B67F-404B-827E-56362CFBEC7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ECB66D0D-08AE-4119-8BBC-0A3BDD4903F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4</c:v>
                </c:pt>
                <c:pt idx="1">
                  <c:v>0.87</c:v>
                </c:pt>
                <c:pt idx="2">
                  <c:v>0.89</c:v>
                </c:pt>
                <c:pt idx="3">
                  <c:v>0.85</c:v>
                </c:pt>
                <c:pt idx="4">
                  <c:v>0.8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4A919B15-B30B-42F8-81AA-CF1553B3FE4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7AFAF917-F899-4599-841E-28CA5C002A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71C5C6F4-78BB-4A55-A635-116E6E8CF79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68BA6FC0-E611-4435-8850-FFB84FFA825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6</c:v>
                </c:pt>
                <c:pt idx="1">
                  <c:v>0.13</c:v>
                </c:pt>
                <c:pt idx="2">
                  <c:v>0.11</c:v>
                </c:pt>
                <c:pt idx="3">
                  <c:v>0.15</c:v>
                </c:pt>
                <c:pt idx="4">
                  <c:v>0.1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87%</c:v>
                  </c:pt>
                  <c:pt idx="2">
                    <c:v>89%</c:v>
                  </c:pt>
                  <c:pt idx="3">
                    <c:v>85%</c:v>
                  </c:pt>
                  <c:pt idx="4">
                    <c:v>88%</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5</c:v>
                </c:pt>
                <c:pt idx="2">
                  <c:v>0.86</c:v>
                </c:pt>
                <c:pt idx="3">
                  <c:v>0.8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D30E66EB-95B9-496B-BB34-821D45A580A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F1AD5EC0-CF44-4A77-852D-EEBFA1BD0F7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67FCAB7D-D858-45C4-A37D-AB8FD15D70E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5</c:v>
                </c:pt>
                <c:pt idx="2">
                  <c:v>0.14000000000000001</c:v>
                </c:pt>
                <c:pt idx="3">
                  <c:v>0.1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85%</c:v>
                  </c:pt>
                  <c:pt idx="2">
                    <c:v>86%</c:v>
                  </c:pt>
                  <c:pt idx="3">
                    <c:v>87%</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87</c:v>
                </c:pt>
                <c:pt idx="3">
                  <c:v>0.89</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075ECEDC-3E78-4C6C-B004-8961576E9A3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007E1704-1500-45A9-826B-6AFC847B73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3A1F323C-1A7D-4354-9B52-B1C9C53724B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DC1C4529-2D73-4417-B54C-609D7B3CCCD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4000000000000001</c:v>
                </c:pt>
                <c:pt idx="1">
                  <c:v>0</c:v>
                </c:pt>
                <c:pt idx="2">
                  <c:v>0.13</c:v>
                </c:pt>
                <c:pt idx="3">
                  <c:v>0.11</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6%</c:v>
                  </c:pt>
                  <c:pt idx="1">
                    <c:v>-</c:v>
                  </c:pt>
                  <c:pt idx="2">
                    <c:v>87%</c:v>
                  </c:pt>
                  <c:pt idx="3">
                    <c:v>89%</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8</c:v>
                </c:pt>
                <c:pt idx="1">
                  <c:v>0.84</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41F0E380-67F6-461F-9C88-5CFA040C87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70D6257E-D5EF-4532-AB25-6FAD9F9AE25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3FAD3998-156E-4B59-A717-8CF02F44625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58F8A5CA-59DF-48DE-B98B-00C633ABCC9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2</c:v>
                </c:pt>
                <c:pt idx="1">
                  <c:v>0.1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84%</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5</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02AC62FF-C0B5-491C-9B9C-755C93467BE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ABFD083B-3AF6-47EF-A12C-C57F80C28AE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5</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5%</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5</c:v>
                </c:pt>
                <c:pt idx="1">
                  <c:v>86</c:v>
                </c:pt>
                <c:pt idx="2">
                  <c:v>3</c:v>
                </c:pt>
                <c:pt idx="3">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0</c:v>
                </c:pt>
                <c:pt idx="1">
                  <c:v>7</c:v>
                </c:pt>
                <c:pt idx="2">
                  <c:v>1</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437E3621-85DF-423D-82FB-55949CBB4B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2DED8829-7142-4A7B-B637-1478A7F0B6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99BBB33A-B0CF-4989-A225-78D701DE95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39D16BA4-F6E9-4566-8338-96C8557BD7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FFD26F5A-6A5B-4ED8-A601-93AED60237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5</c:v>
                </c:pt>
                <c:pt idx="1">
                  <c:v>6</c:v>
                </c:pt>
                <c:pt idx="2">
                  <c:v>7</c:v>
                </c:pt>
                <c:pt idx="3">
                  <c:v>2</c:v>
                </c:pt>
                <c:pt idx="4">
                  <c:v>2</c:v>
                </c:pt>
                <c:pt idx="5">
                  <c:v>4</c:v>
                </c:pt>
                <c:pt idx="6">
                  <c:v>3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5%</c:v>
                  </c:pt>
                  <c:pt idx="1">
                    <c:v>6%</c:v>
                  </c:pt>
                  <c:pt idx="2">
                    <c:v>7%p</c:v>
                  </c:pt>
                  <c:pt idx="3">
                    <c:v>2%</c:v>
                  </c:pt>
                  <c:pt idx="4">
                    <c:v>2%</c:v>
                  </c:pt>
                  <c:pt idx="5">
                    <c:v>4%</c:v>
                  </c:pt>
                  <c:pt idx="6">
                    <c:v>34%</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515B87C3-D7FB-4F65-BFE2-7953BCCD6B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05C-4A2F-9A88-03A72AE7F3F6}"/>
                </c:ext>
              </c:extLst>
            </c:dLbl>
            <c:dLbl>
              <c:idx val="3"/>
              <c:tx>
                <c:rich>
                  <a:bodyPr/>
                  <a:lstStyle/>
                  <a:p>
                    <a:fld id="{001EFFA0-C849-45E8-A185-93ADABD5AC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25C151E3-2B84-487C-B719-34B9E901A2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7632C3BA-1CCF-4897-AB42-D44897102D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3D47AD8B-69F6-4537-ADF8-6725B27CC4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7</c:v>
                </c:pt>
                <c:pt idx="1">
                  <c:v>8</c:v>
                </c:pt>
                <c:pt idx="2">
                  <c:v>6</c:v>
                </c:pt>
                <c:pt idx="3">
                  <c:v>2</c:v>
                </c:pt>
                <c:pt idx="4">
                  <c:v>14</c:v>
                </c:pt>
                <c:pt idx="5">
                  <c:v>8</c:v>
                </c:pt>
                <c:pt idx="6">
                  <c:v>3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7%</c:v>
                  </c:pt>
                  <c:pt idx="1">
                    <c:v>8%</c:v>
                  </c:pt>
                  <c:pt idx="2">
                    <c:v>6%p</c:v>
                  </c:pt>
                  <c:pt idx="3">
                    <c:v>2%</c:v>
                  </c:pt>
                  <c:pt idx="4">
                    <c:v>14%</c:v>
                  </c:pt>
                  <c:pt idx="5">
                    <c:v>8%</c:v>
                  </c:pt>
                  <c:pt idx="6">
                    <c:v>3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3A6A44B6-03D7-4B0B-B911-455C3F7076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8F6180EF-D337-4448-A747-5361E8C656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B9C556EB-9509-4954-A100-A335FE9160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3-EF04-40F3-B91F-C8C4FA5B6E26}"/>
                </c:ext>
              </c:extLst>
            </c:dLbl>
            <c:dLbl>
              <c:idx val="1"/>
              <c:tx>
                <c:rich>
                  <a:bodyPr/>
                  <a:lstStyle/>
                  <a:p>
                    <a:r>
                      <a:rPr lang="en-GB"/>
                      <a:t>8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5</c:v>
                </c:pt>
                <c:pt idx="1">
                  <c:v>8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5%p</c:v>
                  </c:pt>
                  <c:pt idx="1">
                    <c:v>85%q</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6A3E8A29-5625-46D6-88FE-2AD926FA96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64D90ED0-0221-46E3-A903-D851E3B837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9E475AA5-E499-4B0C-AFCB-98301C4B17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181AD7D0-141D-4E96-87CB-F9086ECD57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12FF107B-1479-4D41-B5D5-B3355DB85D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22EF8CC0-CB1F-4626-8BC5-016D16A588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000000000000005</c:v>
                </c:pt>
                <c:pt idx="1">
                  <c:v>0.44</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6%</c:v>
                  </c:pt>
                  <c:pt idx="1">
                    <c:v>44%</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63660E5F-E5BD-425C-B571-FCD5942F73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470B4729-EFC1-4FB5-86C2-A2765169A1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2A31C913-174E-47A1-AA22-78DA5CE940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813DD00C-DFBE-4252-806F-6621613986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1</c:v>
                </c:pt>
                <c:pt idx="1">
                  <c:v>0.48</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1%</c:v>
                  </c:pt>
                  <c:pt idx="1">
                    <c:v>48%</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B89A70AE-41C9-4006-B328-74CB1D1B9B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92439C8D-E134-4F71-AF5B-9BCD0DCB9C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4</c:v>
                </c:pt>
                <c:pt idx="1">
                  <c:v>7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4%</c:v>
                  </c:pt>
                  <c:pt idx="1">
                    <c:v>76%</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2BDB3F7A-F036-4008-9485-379FA43511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p</c:v>
                  </c:pt>
                  <c:pt idx="1">
                    <c:v>94%q</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693FB344-A45B-4F5A-8A46-2D49294F0B8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4%</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8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4</c:v>
                </c:pt>
                <c:pt idx="1">
                  <c:v>8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4%p</c:v>
                  </c:pt>
                  <c:pt idx="1">
                    <c:v>86%q</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481246C7-0418-432E-93D1-C5941B0E21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5FD2F4C1-52B2-44E8-BB37-B6DBE68446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68BBB97E-5E6E-40B3-9992-B524EEDB47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r>
                      <a:rPr lang="en-GB"/>
                      <a:t>6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9CE9D64F-CC2F-40DB-AB66-3776D8ED90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F04EEDDA-8654-4761-9011-88BCC805CC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A2BB0BEB-792E-401E-A68D-2C5F773633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4</c:v>
                </c:pt>
                <c:pt idx="1">
                  <c:v>90</c:v>
                </c:pt>
                <c:pt idx="2">
                  <c:v>78</c:v>
                </c:pt>
                <c:pt idx="3">
                  <c:v>65</c:v>
                </c:pt>
                <c:pt idx="4">
                  <c:v>92</c:v>
                </c:pt>
                <c:pt idx="5">
                  <c:v>32</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4%</c:v>
                  </c:pt>
                  <c:pt idx="1">
                    <c:v>90%</c:v>
                  </c:pt>
                  <c:pt idx="2">
                    <c:v>78%</c:v>
                  </c:pt>
                  <c:pt idx="3">
                    <c:v>65%q</c:v>
                  </c:pt>
                  <c:pt idx="4">
                    <c:v>92%</c:v>
                  </c:pt>
                  <c:pt idx="5">
                    <c:v>32%</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B93C2A1D-B02D-4C66-895D-E05E7D9818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2C65923F-80B7-4566-BCF7-A3479F5ED3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6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r>
                      <a:rPr lang="en-GB"/>
                      <a:t>5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r>
                      <a:rPr lang="en-GB"/>
                      <a:t>8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3E36-4621-A2A8-3ADDA83CA04C}"/>
                </c:ext>
              </c:extLst>
            </c:dLbl>
            <c:dLbl>
              <c:idx val="5"/>
              <c:tx>
                <c:rich>
                  <a:bodyPr/>
                  <a:lstStyle/>
                  <a:p>
                    <a:r>
                      <a:rPr lang="en-GB"/>
                      <a:t>2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44706150-D49F-45A7-9DC4-42A37D982E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85</c:v>
                </c:pt>
                <c:pt idx="2">
                  <c:v>64</c:v>
                </c:pt>
                <c:pt idx="3">
                  <c:v>55</c:v>
                </c:pt>
                <c:pt idx="4">
                  <c:v>81</c:v>
                </c:pt>
                <c:pt idx="5">
                  <c:v>29</c:v>
                </c:pt>
                <c:pt idx="6">
                  <c:v>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1%</c:v>
                  </c:pt>
                  <c:pt idx="1">
                    <c:v>85%</c:v>
                  </c:pt>
                  <c:pt idx="2">
                    <c:v>64%q</c:v>
                  </c:pt>
                  <c:pt idx="3">
                    <c:v>55%q</c:v>
                  </c:pt>
                  <c:pt idx="4">
                    <c:v>81%q</c:v>
                  </c:pt>
                  <c:pt idx="5">
                    <c:v>29%q</c:v>
                  </c:pt>
                  <c:pt idx="6">
                    <c:v>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3</c:v>
                </c:pt>
                <c:pt idx="1">
                  <c:v>29</c:v>
                </c:pt>
                <c:pt idx="2">
                  <c:v>14</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2</c:v>
                </c:pt>
                <c:pt idx="1">
                  <c:v>38</c:v>
                </c:pt>
                <c:pt idx="2">
                  <c:v>11</c:v>
                </c:pt>
                <c:pt idx="3">
                  <c:v>6</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D5163FE6-7326-4A49-B38C-8B77F831FC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0C6AEA2F-9F8A-4040-9418-C61A92392E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C48D2EC3-FA21-44D4-BACA-2DA29857DF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930E8E43-29CB-48CE-A4CC-63E837E566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8%</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8</c:v>
                </c:pt>
                <c:pt idx="1">
                  <c:v>17</c:v>
                </c:pt>
                <c:pt idx="2">
                  <c:v>7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9</c:v>
                </c:pt>
                <c:pt idx="1">
                  <c:v>32</c:v>
                </c:pt>
                <c:pt idx="2">
                  <c:v>6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20</c:v>
                </c:pt>
                <c:pt idx="2">
                  <c:v>34</c:v>
                </c:pt>
                <c:pt idx="3">
                  <c:v>15</c:v>
                </c:pt>
                <c:pt idx="4">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4</c:v>
                </c:pt>
                <c:pt idx="1">
                  <c:v>24</c:v>
                </c:pt>
                <c:pt idx="2">
                  <c:v>19</c:v>
                </c:pt>
                <c:pt idx="3">
                  <c:v>18</c:v>
                </c:pt>
                <c:pt idx="4">
                  <c:v>1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48399999999999999</c:v>
                </c:pt>
                <c:pt idx="1">
                  <c:v>0.19900000000000001</c:v>
                </c:pt>
                <c:pt idx="2">
                  <c:v>0.13</c:v>
                </c:pt>
                <c:pt idx="3">
                  <c:v>0.11799999999999999</c:v>
                </c:pt>
                <c:pt idx="4">
                  <c:v>6.9000000000000006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51900000000000002</c:v>
                </c:pt>
                <c:pt idx="1">
                  <c:v>0.21199999999999999</c:v>
                </c:pt>
                <c:pt idx="2">
                  <c:v>0.115</c:v>
                </c:pt>
                <c:pt idx="3">
                  <c:v>0.1</c:v>
                </c:pt>
                <c:pt idx="4">
                  <c:v>5.3999999999999999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5</c:v>
                </c:pt>
                <c:pt idx="2">
                  <c:v>33</c:v>
                </c:pt>
                <c:pt idx="3">
                  <c:v>19</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0</c:v>
                </c:pt>
                <c:pt idx="2">
                  <c:v>23</c:v>
                </c:pt>
                <c:pt idx="3">
                  <c:v>21</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2</c:v>
                </c:pt>
                <c:pt idx="2">
                  <c:v>31</c:v>
                </c:pt>
                <c:pt idx="3">
                  <c:v>17</c:v>
                </c:pt>
                <c:pt idx="4">
                  <c:v>1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2</c:v>
                </c:pt>
                <c:pt idx="1">
                  <c:v>32</c:v>
                </c:pt>
                <c:pt idx="2">
                  <c:v>20</c:v>
                </c:pt>
                <c:pt idx="3">
                  <c:v>8</c:v>
                </c:pt>
                <c:pt idx="4">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A4121295-8A1D-4B3E-BD5F-57D38EA100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C8F53307-A0B2-4805-9EB8-4899ABEF1A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CFF54CCE-C50E-46AE-9F58-94641E08DB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C13CD7E4-7A5F-4A84-93CA-A6005C64A6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6</c:v>
                </c:pt>
                <c:pt idx="1">
                  <c:v>0</c:v>
                </c:pt>
                <c:pt idx="2">
                  <c:v>0.15</c:v>
                </c:pt>
                <c:pt idx="3">
                  <c:v>7.0000000000000007E-2</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76%</c:v>
                  </c:pt>
                  <c:pt idx="1">
                    <c:v>-</c:v>
                  </c:pt>
                  <c:pt idx="2">
                    <c:v>15%</c:v>
                  </c:pt>
                  <c:pt idx="3">
                    <c:v>7%</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26453C84-38CE-4DDE-97D6-A55B1C6A33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B673CF05-886C-418B-8A68-454042DEC5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A08EFE81-C92F-4991-83B0-4C22EB4686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385AE30F-D746-4B81-ACC2-760839CD6B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67</c:v>
                </c:pt>
                <c:pt idx="1">
                  <c:v>0.02</c:v>
                </c:pt>
                <c:pt idx="2">
                  <c:v>0.22</c:v>
                </c:pt>
                <c:pt idx="3">
                  <c:v>0.08</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67%</c:v>
                  </c:pt>
                  <c:pt idx="1">
                    <c:v>2%</c:v>
                  </c:pt>
                  <c:pt idx="2">
                    <c:v>22%</c:v>
                  </c:pt>
                  <c:pt idx="3">
                    <c:v>8%</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0</c:v>
                </c:pt>
                <c:pt idx="2">
                  <c:v>33</c:v>
                </c:pt>
                <c:pt idx="3">
                  <c:v>19</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18</c:v>
                </c:pt>
                <c:pt idx="2">
                  <c:v>27</c:v>
                </c:pt>
                <c:pt idx="3">
                  <c:v>18</c:v>
                </c:pt>
                <c:pt idx="4">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2</c:v>
                </c:pt>
                <c:pt idx="1">
                  <c:v>27</c:v>
                </c:pt>
                <c:pt idx="2">
                  <c:v>39</c:v>
                </c:pt>
                <c:pt idx="3">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5</c:v>
                </c:pt>
                <c:pt idx="1">
                  <c:v>40</c:v>
                </c:pt>
                <c:pt idx="2">
                  <c:v>29</c:v>
                </c:pt>
                <c:pt idx="3">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38</c:v>
                </c:pt>
                <c:pt idx="2">
                  <c:v>13</c:v>
                </c:pt>
                <c:pt idx="3">
                  <c:v>2</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70</c:v>
                </c:pt>
                <c:pt idx="1">
                  <c:v>23</c:v>
                </c:pt>
                <c:pt idx="2">
                  <c:v>4</c:v>
                </c:pt>
                <c:pt idx="3">
                  <c:v>1</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4</c:v>
                </c:pt>
                <c:pt idx="1">
                  <c:v>52</c:v>
                </c:pt>
                <c:pt idx="2">
                  <c:v>11</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3</c:v>
                </c:pt>
                <c:pt idx="2">
                  <c:v>11</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2899999999999999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B094D649-D351-415E-80DE-71585A7569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A776FDBE-029B-448D-BBFC-A3041A7D07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315B4493-AF0A-4592-8A98-D19BBEBDBE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2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q</c:v>
                  </c:pt>
                  <c:pt idx="1">
                    <c:v>22%p</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6F183DFD-ED06-48E0-83EB-736B9B9072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CCC20A11-01BF-41E9-B9DA-A66F109FF9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8</c:v>
                </c:pt>
                <c:pt idx="1">
                  <c:v>4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8%</c:v>
                  </c:pt>
                  <c:pt idx="1">
                    <c:v>42%</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68F37DF5-F8AF-416C-8798-D3FA3079AE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5069EF0B-340F-482C-84A4-737FC1DF51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30D845C7-260F-4FC3-A9F1-1385C24EEC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E90B52C3-4339-4246-9FB0-E80411FCE9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3</c:v>
                </c:pt>
                <c:pt idx="1">
                  <c:v>6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3%</c:v>
                  </c:pt>
                  <c:pt idx="1">
                    <c:v>67%</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36F77BCD-8CCC-486C-A88F-703B5F922B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8%</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8%p</c:v>
                  </c:pt>
                  <c:pt idx="1">
                    <c:v>52%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F9C958FA-F7F9-49CC-BE48-9D0E8B23A3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3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9E81-4665-B9F1-19FE31D5928C}"/>
                </c:ext>
              </c:extLst>
            </c:dLbl>
            <c:dLbl>
              <c:idx val="1"/>
              <c:tx>
                <c:rich>
                  <a:bodyPr/>
                  <a:lstStyle/>
                  <a:p>
                    <a:r>
                      <a:rPr lang="en-GB"/>
                      <a:t>6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8%q</c:v>
                  </c:pt>
                  <c:pt idx="1">
                    <c:v>62%p</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152407D4-43A4-43BC-86FB-E2DAF85965B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BB1DEE4B-C29F-477B-8AE3-D787DCD9AC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7</c:v>
                </c:pt>
                <c:pt idx="1">
                  <c:v>6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7%</c:v>
                  </c:pt>
                  <c:pt idx="1">
                    <c:v>63%</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952B31B7-2637-4A7B-A4EE-9BD62732EC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2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4%q</c:v>
                  </c:pt>
                  <c:pt idx="1">
                    <c:v>26%p</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18C3E18F-987F-4266-A40A-DEF10F7990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7A355707-2EDA-46AE-9E65-0D743CB911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45578AAC-43AB-4CFA-A6B5-BED8693BD3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6%</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4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6</c:v>
                </c:pt>
                <c:pt idx="1">
                  <c:v>4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6%q</c:v>
                  </c:pt>
                  <c:pt idx="1">
                    <c:v>44%p</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D45093A3-CBAB-49B1-AA5A-2F3CEC38AC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ED965F9F-EF81-448D-8895-62039234ED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9%</c:v>
                  </c:pt>
                  <c:pt idx="1">
                    <c:v>51%</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DB4D14DF-B9A8-4313-853C-7C867CE8AE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2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1%q</c:v>
                  </c:pt>
                  <c:pt idx="1">
                    <c:v>29%p</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F5712E78-84BD-4FAB-BA38-E9B087E799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C9295660-C410-4FDD-A7D2-C39A4613EB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2</c:v>
                </c:pt>
                <c:pt idx="1">
                  <c:v>2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2%</c:v>
                  </c:pt>
                  <c:pt idx="1">
                    <c:v>28%</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6</c:v>
                </c:pt>
                <c:pt idx="1">
                  <c:v>31</c:v>
                </c:pt>
                <c:pt idx="2">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44</c:v>
                </c:pt>
                <c:pt idx="2">
                  <c:v>1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241FFD6A-BFBF-4E03-A63B-DA3D55ACF3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7C50EDA1-362D-4F09-B74F-EDC458CC8C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B55191AA-54D4-4522-85D7-D265CF5014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FA498A22-DDC7-401C-950E-00A1708AF2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1D6CCC53-4269-4B1D-AC42-3638B2C7C9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3F05AF6D-D75F-484B-B5CB-723BC5E764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2</c:v>
                </c:pt>
                <c:pt idx="1">
                  <c:v>6</c:v>
                </c:pt>
                <c:pt idx="2">
                  <c:v>60</c:v>
                </c:pt>
                <c:pt idx="3">
                  <c:v>31</c:v>
                </c:pt>
                <c:pt idx="4">
                  <c:v>17</c:v>
                </c:pt>
                <c:pt idx="5">
                  <c:v>15</c:v>
                </c:pt>
                <c:pt idx="6">
                  <c:v>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2%</c:v>
                  </c:pt>
                  <c:pt idx="1">
                    <c:v>6%</c:v>
                  </c:pt>
                  <c:pt idx="2">
                    <c:v>60%</c:v>
                  </c:pt>
                  <c:pt idx="3">
                    <c:v>31%</c:v>
                  </c:pt>
                  <c:pt idx="4">
                    <c:v>17%</c:v>
                  </c:pt>
                  <c:pt idx="5">
                    <c:v>15%</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18784AA2-DAF4-48B9-BF90-36C1F20154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41DCF6C4-3DE6-4E83-9BAE-63D63FDCA3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C3039500-6C4B-4016-AFFB-79476D1649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2195483D-619D-4BE8-AAEA-EEB7CC9D76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30BFEB73-B636-4BFE-A5D5-B7790E31D8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F2150177-8824-4C60-AC14-C81FA73408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9</c:v>
                </c:pt>
                <c:pt idx="1">
                  <c:v>18</c:v>
                </c:pt>
                <c:pt idx="2">
                  <c:v>34</c:v>
                </c:pt>
                <c:pt idx="3">
                  <c:v>43</c:v>
                </c:pt>
                <c:pt idx="4">
                  <c:v>9</c:v>
                </c:pt>
                <c:pt idx="5">
                  <c:v>16</c:v>
                </c:pt>
                <c:pt idx="6">
                  <c:v>1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9%</c:v>
                  </c:pt>
                  <c:pt idx="1">
                    <c:v>18%</c:v>
                  </c:pt>
                  <c:pt idx="2">
                    <c:v>34%</c:v>
                  </c:pt>
                  <c:pt idx="3">
                    <c:v>43%</c:v>
                  </c:pt>
                  <c:pt idx="4">
                    <c:v>9%</c:v>
                  </c:pt>
                  <c:pt idx="5">
                    <c:v>16%</c:v>
                  </c:pt>
                  <c:pt idx="6">
                    <c:v>14%</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37</c:v>
                </c:pt>
                <c:pt idx="2">
                  <c:v>8</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9</c:v>
                </c:pt>
                <c:pt idx="2">
                  <c:v>3</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3%</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9</c:v>
                </c:pt>
                <c:pt idx="1">
                  <c:v>0.89</c:v>
                </c:pt>
                <c:pt idx="2">
                  <c:v>0.87</c:v>
                </c:pt>
                <c:pt idx="3">
                  <c:v>0.84</c:v>
                </c:pt>
                <c:pt idx="4">
                  <c:v>0.7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90FD81BD-F646-473F-8EBE-07095E29C97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CABF3EF1-2595-4CED-9FF2-3FF223163B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49587E9C-F34E-4820-9742-B84875970E1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ED776890-69E7-4F7B-875C-6C8AFECE5DA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1</c:v>
                </c:pt>
                <c:pt idx="1">
                  <c:v>0.11</c:v>
                </c:pt>
                <c:pt idx="2">
                  <c:v>0.13</c:v>
                </c:pt>
                <c:pt idx="3">
                  <c:v>0.16</c:v>
                </c:pt>
                <c:pt idx="4">
                  <c:v>0.2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9%</c:v>
                  </c:pt>
                  <c:pt idx="1">
                    <c:v>89%</c:v>
                  </c:pt>
                  <c:pt idx="2">
                    <c:v>87%</c:v>
                  </c:pt>
                  <c:pt idx="3">
                    <c:v>84%</c:v>
                  </c:pt>
                  <c:pt idx="4">
                    <c:v>79%</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LACK COUNTRY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LACK COUNTRY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LACK COUNTRY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LACK COUNTRY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LACK COUNTRY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BLACK COUNTRY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6470150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support from other people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69634675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99084124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sharing information about diabetes at the time of diagnosis
Attending an annual review ever
Having a urine test as part of their last annual review
Participating in a course about diabetes
Healthcare professionals providing support to monitor blood sugar level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78268223"/>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LACK COUNTR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407167138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31735907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0% of respondents who were marked as Type 1 in the sample selected ‘Type 1’, 7% selected ‘Type 2’, 1% selected ‘Other’ and 2% selected ‘I don’t know’ ​</a:t>
            </a:r>
          </a:p>
          <a:p>
            <a:pPr marL="171450" indent="-171450">
              <a:buFont typeface="Arial" panose="020B0604020202020204" pitchFamily="34" charset="0"/>
              <a:buChar char="•"/>
              <a:defRPr/>
            </a:pPr>
            <a:r>
              <a:rPr lang="en-GB" sz="1200" dirty="0">
                <a:solidFill>
                  <a:schemeClr val="tx1"/>
                </a:solidFill>
                <a:effectLst/>
              </a:rPr>
              <a:t>86% of respondents who were marked as Type 2 in the sample selected ‘Type 2’, 5% selected ‘Type 1’, 3% selected ‘Other’ and 6%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97); Type 2, ICS (575)).</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562501882"/>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420250478"/>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3798665502"/>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94111140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31099210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37); Type 2, National (19,941), ICS (464))</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33275262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138475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45); Type 2, National (22,278), ICS (518))</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7423857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97334139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05); Type 2, National (21,082), ICS (489))</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69171157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3023081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96); Type 2, National (24,180), ICS (577))</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697458509"/>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075305294"/>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187212708"/>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652064569"/>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3970579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76); Type 2, National (22,482), ICS (505))</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25260624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78852463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74112279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88612080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44293808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65355606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418885445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53606676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38706552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76); Type 2, National (22,670), ICS (51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69218474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82775037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8681409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96246114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87376089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9070529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250209112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71744422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99149258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97); Type 2, National (24,076), ICS (571))</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55759043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29023133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0402912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76783766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89294574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77259196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77741394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76059509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98); Type 2, National (24,153), ICS (574))</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55267930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408575958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368251943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58697048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378662165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44180476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50748484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44769824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2015428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98); Type 2, National (24,135), ICS (57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0719656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164091511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49830905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51733676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45247542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70798199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65939001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03074269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43372887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8); Type 2, National (24,084), ICS (56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55326632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391851591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46372074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2634320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93510612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71187583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398568647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41287791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70594863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7); Type 2, National (24,070), ICS (57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7077070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895083679"/>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47269443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683998921"/>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312718880"/>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8202208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085265802"/>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417637178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47210828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8); Type 2, National (24,260), ICS (572))</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69072917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93307000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60372803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340042728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82233319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13002041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63353551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49450257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59526780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98); Type 2, National (24,267), ICS (574))</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59116047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89382075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79864159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60679091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384172983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70896509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34938078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94094391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21456282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7); Type 2, National (24,196), ICS (57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151992806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39498753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194572169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96); Type 2, National (24,019), ICS (568))</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240543725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396546958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9); Type 2, National (11,860), ICS (256))</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306509044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78257430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1); Type 2, National (21,228), ICS (509))</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80913670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85896601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81); Type 2, National (20,915), ICS (498))</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46080686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4088997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59); Type 2, National (20,086), ICS (488))</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84358608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9475895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4); Type 2, National (21,890), ICS (533))</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83536353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09299426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50); Type 2, National (18,585), ICS (455))</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21996583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95555272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95219250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01932438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59149363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61023499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27097936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68902262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81); Type 2, National (22,580), ICS (517))</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353449573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4276654005"/>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352789811"/>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182974346"/>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556155187"/>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1727238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1); Type 2, National (12,350), ICS (313))</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61323218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3622352508"/>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385532998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12347918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73650587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49623389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05486691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86229338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81); Type 2, National (10,911), ICS (28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65415734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27990465"/>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58540613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458429796"/>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677268806"/>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686362784"/>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528434587"/>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75))</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08740837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74387756"/>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549790254"/>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657409713"/>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683657483"/>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586844816"/>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06))</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BLACK COUNTRY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225</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80</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0%</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98</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82</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40</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985</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552026498"/>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2894650707"/>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873547168"/>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8892218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2346681949"/>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261531759"/>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489873507"/>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LACK COUNTR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677283527"/>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medicine
Healthcare professionals providing support in taking part in physical activity
Healthcare professionals providing support with eating well
Healthcare professionals providing support with emotional and mental health need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6744823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26250610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foot check as part of their last annual review
Having a urine test as part of their last annual review
Having a blood test check as part of their last annual review
Having a smoking status review as part of their last annual review
Participating in a course about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2850269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1</TotalTime>
  <Words>5406</Words>
  <Application>Microsoft Office PowerPoint</Application>
  <PresentationFormat>Widescreen</PresentationFormat>
  <Paragraphs>816</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Arial</vt:lpstr>
      <vt:lpstr>Wingdings 3</vt:lpstr>
      <vt:lpstr>Segoe UI</vt:lpstr>
      <vt:lpstr>HelveticaNeueLT Std Lt Cn</vt:lpstr>
      <vt:lpstr>Roboto</vt:lpstr>
      <vt:lpstr>Barlow</vt:lpstr>
      <vt:lpstr>Arial (Body)</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3</cp:revision>
  <cp:lastPrinted>2024-09-17T13:37:47Z</cp:lastPrinted>
  <dcterms:created xsi:type="dcterms:W3CDTF">2024-06-17T14:42:21Z</dcterms:created>
  <dcterms:modified xsi:type="dcterms:W3CDTF">2024-12-04T11:3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